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0" r:id="rId1"/>
    <p:sldMasterId id="2147483662" r:id="rId2"/>
  </p:sldMasterIdLst>
  <p:notesMasterIdLst>
    <p:notesMasterId r:id="rId22"/>
  </p:notesMasterIdLst>
  <p:sldIdLst>
    <p:sldId id="258" r:id="rId3"/>
    <p:sldId id="285" r:id="rId4"/>
    <p:sldId id="284" r:id="rId5"/>
    <p:sldId id="287" r:id="rId6"/>
    <p:sldId id="292" r:id="rId7"/>
    <p:sldId id="293" r:id="rId8"/>
    <p:sldId id="294" r:id="rId9"/>
    <p:sldId id="282" r:id="rId10"/>
    <p:sldId id="299" r:id="rId11"/>
    <p:sldId id="302" r:id="rId12"/>
    <p:sldId id="290" r:id="rId13"/>
    <p:sldId id="295" r:id="rId14"/>
    <p:sldId id="300" r:id="rId15"/>
    <p:sldId id="296" r:id="rId16"/>
    <p:sldId id="297" r:id="rId17"/>
    <p:sldId id="301" r:id="rId18"/>
    <p:sldId id="291" r:id="rId19"/>
    <p:sldId id="298" r:id="rId20"/>
    <p:sldId id="269" r:id="rId21"/>
  </p:sldIdLst>
  <p:sldSz cx="12192000" cy="6858000"/>
  <p:notesSz cx="6858000" cy="9926638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alibri Light" panose="020F0302020204030204" pitchFamily="34" charset="0"/>
      <p:regular r:id="rId27"/>
      <p:italic r:id="rId28"/>
    </p:embeddedFont>
    <p:embeddedFont>
      <p:font typeface="Trebuchet MS" panose="020B0603020202020204" pitchFamily="34" charset="0"/>
      <p:regular r:id="rId29"/>
      <p:bold r:id="rId30"/>
      <p:italic r:id="rId31"/>
      <p:boldItalic r:id="rId32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pos="1141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E7B5"/>
    <a:srgbClr val="505AEA"/>
    <a:srgbClr val="3399FF"/>
    <a:srgbClr val="24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83" autoAdjust="0"/>
    <p:restoredTop sz="94674"/>
  </p:normalViewPr>
  <p:slideViewPr>
    <p:cSldViewPr snapToGrid="0" snapToObjects="1">
      <p:cViewPr varScale="1">
        <p:scale>
          <a:sx n="102" d="100"/>
          <a:sy n="102" d="100"/>
        </p:scale>
        <p:origin x="-906" y="-96"/>
      </p:cViewPr>
      <p:guideLst>
        <p:guide orient="horz" pos="482"/>
        <p:guide pos="114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4086" y="-90"/>
      </p:cViewPr>
      <p:guideLst>
        <p:guide orient="horz" pos="3126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4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3.fntdata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9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067A4-4A9E-49FD-8DAB-FA1255427B79}" type="datetimeFigureOut">
              <a:rPr lang="ru-RU" smtClean="0"/>
              <a:t>23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F9564-6D83-497F-A0A6-C1411EAACE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557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8F9564-6D83-497F-A0A6-C1411EAACEC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00796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6A393D-B10D-4D24-A3AB-359F9DB2F148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5230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6A393D-B10D-4D24-A3AB-359F9DB2F148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523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65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36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7401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687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179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72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prstClr val="white">
                    <a:lumMod val="50000"/>
                  </a:prst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prstClr val="white">
                  <a:lumMod val="50000"/>
                </a:prst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760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4C71EC6-210F-42DE-9C53-41977AD35B3D}" type="datetimeFigureOut">
              <a:rPr lang="ru-RU" smtClean="0">
                <a:solidFill>
                  <a:prstClr val="black"/>
                </a:solidFill>
              </a:rPr>
              <a:pPr/>
              <a:t>23.12.2019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14361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4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3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121917" tIns="60958" rIns="121917" bIns="60958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4C71EC6-210F-42DE-9C53-41977AD35B3D}" type="datetimeFigureOut">
              <a:rPr lang="ru-RU" smtClean="0"/>
              <a:t>23.12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lIns="121917" tIns="60958" rIns="121917" bIns="60958"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4211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968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1" r:id="rId2"/>
    <p:sldLayoutId id="2147483655" r:id="rId3"/>
    <p:sldLayoutId id="2147483656" r:id="rId4"/>
    <p:sldLayoutId id="2147483657" r:id="rId5"/>
    <p:sldLayoutId id="2147483659" r:id="rId6"/>
    <p:sldLayoutId id="2147483660" r:id="rId7"/>
    <p:sldLayoutId id="2147483661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132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1.jpeg"/><Relationship Id="rId7" Type="http://schemas.openxmlformats.org/officeDocument/2006/relationships/image" Target="../media/image44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23.png"/><Relationship Id="rId10" Type="http://schemas.openxmlformats.org/officeDocument/2006/relationships/image" Target="../media/image47.png"/><Relationship Id="rId4" Type="http://schemas.openxmlformats.org/officeDocument/2006/relationships/image" Target="../media/image42.png"/><Relationship Id="rId9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8.png"/><Relationship Id="rId7" Type="http://schemas.openxmlformats.org/officeDocument/2006/relationships/image" Target="../media/image51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0.png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png"/><Relationship Id="rId5" Type="http://schemas.openxmlformats.org/officeDocument/2006/relationships/image" Target="../media/image58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2.xml"/><Relationship Id="rId4" Type="http://schemas.microsoft.com/office/2007/relationships/hdphoto" Target="../media/hdphoto7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67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7.png"/><Relationship Id="rId7" Type="http://schemas.openxmlformats.org/officeDocument/2006/relationships/image" Target="../media/image20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2.png"/><Relationship Id="rId4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microsoft.com/office/2007/relationships/hdphoto" Target="../media/hdphoto4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microsoft.com/office/2007/relationships/hdphoto" Target="../media/hdphoto5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jpe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981195"/>
            <a:ext cx="10483850" cy="72956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 smtClean="0">
                <a:solidFill>
                  <a:schemeClr val="bg1"/>
                </a:solidFill>
                <a:latin typeface="Fregat" pitchFamily="50" charset="0"/>
              </a:rPr>
              <a:t>Анализ цифрового следа туриста</a:t>
            </a:r>
          </a:p>
          <a:p>
            <a:endParaRPr lang="ru-RU" sz="2400" b="1" dirty="0" smtClean="0">
              <a:solidFill>
                <a:schemeClr val="bg1"/>
              </a:solidFill>
              <a:latin typeface="Fregat" pitchFamily="50" charset="0"/>
            </a:endParaRPr>
          </a:p>
          <a:p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Челябинская область</a:t>
            </a:r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  <a:p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F7A1A39F-C528-FC49-821E-CD9F5D753B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2989" y="275837"/>
            <a:ext cx="1218829" cy="5637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02AEAF9-A90F-6945-B591-0A92322811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741156" y="202857"/>
            <a:ext cx="1523338" cy="636739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="" xmlns:a16="http://schemas.microsoft.com/office/drawing/2014/main" id="{C2360F16-2671-41FD-AC67-614F1F355876}"/>
              </a:ext>
            </a:extLst>
          </p:cNvPr>
          <p:cNvSpPr txBox="1">
            <a:spLocks/>
          </p:cNvSpPr>
          <p:nvPr/>
        </p:nvSpPr>
        <p:spPr>
          <a:xfrm>
            <a:off x="1626262" y="6100490"/>
            <a:ext cx="10483850" cy="596624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</a:rPr>
              <a:t>travel.gov74.ru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894324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=""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3231357"/>
            <a:ext cx="5552828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Команда участников:</a:t>
            </a:r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  <a:p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Фетисов Игорь Борисович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Столбов Дмитрий Александрович</a:t>
            </a:r>
          </a:p>
          <a:p>
            <a:r>
              <a:rPr lang="ru-RU" sz="2400" b="1" dirty="0">
                <a:solidFill>
                  <a:schemeClr val="bg1"/>
                </a:solidFill>
                <a:latin typeface="Fregat" pitchFamily="50" charset="0"/>
              </a:rPr>
              <a:t>Павлов Сергей </a:t>
            </a:r>
            <a:r>
              <a:rPr lang="ru-RU" sz="2400" b="1" dirty="0" err="1" smtClean="0">
                <a:solidFill>
                  <a:schemeClr val="bg1"/>
                </a:solidFill>
                <a:latin typeface="Fregat" pitchFamily="50" charset="0"/>
              </a:rPr>
              <a:t>Павлинович</a:t>
            </a:r>
            <a:endParaRPr lang="ru-RU" sz="2400" b="1" dirty="0" smtClean="0">
              <a:solidFill>
                <a:schemeClr val="bg1"/>
              </a:solidFill>
              <a:latin typeface="Fregat" pitchFamily="50" charset="0"/>
            </a:endParaRPr>
          </a:p>
          <a:p>
            <a:r>
              <a:rPr lang="ru-RU" sz="2400" b="1" dirty="0" err="1" smtClean="0">
                <a:solidFill>
                  <a:schemeClr val="bg1"/>
                </a:solidFill>
                <a:latin typeface="Fregat" pitchFamily="50" charset="0"/>
              </a:rPr>
              <a:t>Сукинова</a:t>
            </a:r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 Ольга Викторовна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Fregat" pitchFamily="50" charset="0"/>
              </a:rPr>
              <a:t>Петрова Юлия Викторовна</a:t>
            </a:r>
          </a:p>
          <a:p>
            <a:endParaRPr lang="ru-RU" sz="2400" b="1" dirty="0" smtClean="0">
              <a:solidFill>
                <a:srgbClr val="FF0000"/>
              </a:solidFill>
              <a:latin typeface="Fregat" pitchFamily="50" charset="0"/>
            </a:endParaRPr>
          </a:p>
          <a:p>
            <a:endParaRPr lang="en-US" sz="2400" b="1" dirty="0" smtClean="0">
              <a:solidFill>
                <a:srgbClr val="FF0000"/>
              </a:solidFill>
              <a:latin typeface="Fregat" pitchFamily="50" charset="0"/>
            </a:endParaRPr>
          </a:p>
          <a:p>
            <a:endParaRPr lang="ru-RU" sz="2400" b="1" dirty="0" smtClean="0">
              <a:solidFill>
                <a:srgbClr val="FF0000"/>
              </a:solidFill>
              <a:latin typeface="Fregat" pitchFamily="50" charset="0"/>
            </a:endParaRPr>
          </a:p>
          <a:p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  <a:p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=""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170621"/>
            <a:ext cx="10483850" cy="72886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b="1" dirty="0" smtClean="0">
                <a:solidFill>
                  <a:schemeClr val="bg1"/>
                </a:solidFill>
                <a:latin typeface="Fregat" pitchFamily="50" charset="0"/>
              </a:rPr>
              <a:t>Паспорт решения</a:t>
            </a:r>
          </a:p>
          <a:p>
            <a:endParaRPr lang="ru-RU" sz="1400" b="1" dirty="0" smtClean="0">
              <a:solidFill>
                <a:schemeClr val="bg1"/>
              </a:solidFill>
              <a:latin typeface="Fregat" pitchFamily="50" charset="0"/>
            </a:endParaRPr>
          </a:p>
          <a:p>
            <a:endParaRPr lang="ru-RU" sz="2400" b="1" dirty="0">
              <a:solidFill>
                <a:schemeClr val="bg1"/>
              </a:solidFill>
              <a:latin typeface="Frega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3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229488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254151" y="439002"/>
            <a:ext cx="7649703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 smtClean="0">
                <a:solidFill>
                  <a:prstClr val="black"/>
                </a:solidFill>
                <a:latin typeface="Fregat" pitchFamily="50" charset="0"/>
              </a:rPr>
              <a:t>Источники Данных структура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583138" y="1499470"/>
            <a:ext cx="2961564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отовые операторы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541889" y="6311153"/>
            <a:ext cx="7554727" cy="4078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rgbClr val="FF0000"/>
                </a:solidFill>
                <a:latin typeface="Fregat" pitchFamily="50" charset="0"/>
              </a:rPr>
              <a:t>*</a:t>
            </a:r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Планируемый источник данных</a:t>
            </a:r>
            <a:endParaRPr lang="ru-RU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583138" y="2446340"/>
            <a:ext cx="2961565" cy="522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Яндекс. Подбор слов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608134" y="3705116"/>
            <a:ext cx="2961565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оциальные сети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cxnSp>
        <p:nvCxnSpPr>
          <p:cNvPr id="22" name="Прямая со стрелкой 21"/>
          <p:cNvCxnSpPr/>
          <p:nvPr/>
        </p:nvCxnSpPr>
        <p:spPr>
          <a:xfrm>
            <a:off x="4544702" y="1759916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кругленный прямоугольник 22"/>
          <p:cNvSpPr/>
          <p:nvPr/>
        </p:nvSpPr>
        <p:spPr>
          <a:xfrm>
            <a:off x="5074275" y="1499470"/>
            <a:ext cx="1043190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МТС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cxnSp>
        <p:nvCxnSpPr>
          <p:cNvPr id="26" name="Прямая со стрелкой 25"/>
          <p:cNvCxnSpPr/>
          <p:nvPr/>
        </p:nvCxnSpPr>
        <p:spPr>
          <a:xfrm>
            <a:off x="4544701" y="2726094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36" idx="3"/>
          </p:cNvCxnSpPr>
          <p:nvPr/>
        </p:nvCxnSpPr>
        <p:spPr>
          <a:xfrm>
            <a:off x="4503453" y="5789646"/>
            <a:ext cx="446822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4569699" y="3965563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кругленный прямоугольник 28"/>
          <p:cNvSpPr/>
          <p:nvPr/>
        </p:nvSpPr>
        <p:spPr>
          <a:xfrm>
            <a:off x="4932480" y="5529198"/>
            <a:ext cx="1209982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бербанк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5074272" y="2428997"/>
            <a:ext cx="1093191" cy="64681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prstClr val="black"/>
                </a:solidFill>
                <a:latin typeface="Fregat" pitchFamily="50" charset="0"/>
              </a:rPr>
              <a:t>Iskra</a:t>
            </a:r>
            <a:r>
              <a:rPr lang="en-US" dirty="0" smtClean="0">
                <a:solidFill>
                  <a:prstClr val="black"/>
                </a:solidFill>
                <a:latin typeface="Fregat" pitchFamily="50" charset="0"/>
              </a:rPr>
              <a:t> two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5099272" y="3714826"/>
            <a:ext cx="1043190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>
                <a:solidFill>
                  <a:prstClr val="black"/>
                </a:solidFill>
                <a:latin typeface="Fregat" pitchFamily="50" charset="0"/>
              </a:rPr>
              <a:t>VK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cxnSp>
        <p:nvCxnSpPr>
          <p:cNvPr id="32" name="Прямая со стрелкой 31"/>
          <p:cNvCxnSpPr>
            <a:stCxn id="30" idx="3"/>
          </p:cNvCxnSpPr>
          <p:nvPr/>
        </p:nvCxnSpPr>
        <p:spPr>
          <a:xfrm>
            <a:off x="6167463" y="2752403"/>
            <a:ext cx="47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>
            <a:stCxn id="29" idx="3"/>
          </p:cNvCxnSpPr>
          <p:nvPr/>
        </p:nvCxnSpPr>
        <p:spPr>
          <a:xfrm flipV="1">
            <a:off x="6142462" y="5776141"/>
            <a:ext cx="504579" cy="1350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6117465" y="1759916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6117468" y="3975273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6647040" y="4786605"/>
            <a:ext cx="3159433" cy="200608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Количество турис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Период пребы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Объем тра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Наличие транспор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Причины посещ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Частота посещ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реднее число покупок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613000" y="1459892"/>
            <a:ext cx="2677264" cy="60004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Доход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613000" y="2302221"/>
            <a:ext cx="2677264" cy="81023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Цифровое присутствие курортов в регионе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647041" y="3219731"/>
            <a:ext cx="2677264" cy="149166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Регион </a:t>
            </a:r>
            <a:endParaRPr lang="en-US" dirty="0" smtClean="0">
              <a:solidFill>
                <a:prstClr val="black"/>
              </a:solidFill>
              <a:latin typeface="Fregat" pitchFamily="50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По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Возрас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Интере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Наличие детей</a:t>
            </a:r>
            <a:endParaRPr lang="en-US" dirty="0" smtClean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541889" y="5529199"/>
            <a:ext cx="2961564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Банки</a:t>
            </a:r>
            <a:r>
              <a:rPr lang="ru-RU" dirty="0" smtClean="0">
                <a:solidFill>
                  <a:srgbClr val="FF0000"/>
                </a:solidFill>
                <a:latin typeface="Fregat" pitchFamily="50" charset="0"/>
              </a:rPr>
              <a:t>*</a:t>
            </a:r>
            <a:endParaRPr lang="ru-RU" dirty="0">
              <a:solidFill>
                <a:srgbClr val="FF0000"/>
              </a:solidFill>
              <a:latin typeface="Frega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5264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229488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254151" y="439002"/>
            <a:ext cx="7485272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 smtClean="0">
                <a:solidFill>
                  <a:schemeClr val="tx1"/>
                </a:solidFill>
                <a:latin typeface="Fregat" pitchFamily="50" charset="0"/>
              </a:rPr>
              <a:t>Планируемые источники данных</a:t>
            </a:r>
          </a:p>
          <a:p>
            <a:r>
              <a:rPr lang="ru-RU" sz="2400" b="1" dirty="0" smtClean="0">
                <a:solidFill>
                  <a:schemeClr val="tx1"/>
                </a:solidFill>
                <a:latin typeface="Fregat" pitchFamily="50" charset="0"/>
              </a:rPr>
              <a:t>Данные</a:t>
            </a:r>
            <a:endParaRPr lang="ru-RU" sz="2400" b="1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312" y="1617511"/>
            <a:ext cx="10986095" cy="4672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9989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9162" y="1697526"/>
            <a:ext cx="1767673" cy="1776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 descr="Картинки по запросу критерий эффективности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3259" y="5089717"/>
            <a:ext cx="1973576" cy="1478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455" y="2163048"/>
            <a:ext cx="1505451" cy="1649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ЭТАПЫ ВНЕДРЕНИЯ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28366" y="1077345"/>
            <a:ext cx="104861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  <a:latin typeface="Fregat" pitchFamily="50" charset="0"/>
              </a:rPr>
              <a:t>КЛЮЧЕВЫЕ ЭТАПЫ ВНЕДРЕНИЯ И КОНТРОЛЬНЫЕ ТОЧКИ</a:t>
            </a:r>
            <a:endParaRPr lang="ru-RU" sz="2400" b="1" dirty="0">
              <a:solidFill>
                <a:srgbClr val="C00000"/>
              </a:solidFill>
              <a:latin typeface="Fregat" pitchFamily="50" charset="0"/>
            </a:endParaRPr>
          </a:p>
        </p:txBody>
      </p:sp>
      <p:cxnSp>
        <p:nvCxnSpPr>
          <p:cNvPr id="6" name="Прямая со стрелкой 5"/>
          <p:cNvCxnSpPr>
            <a:endCxn id="28" idx="6"/>
          </p:cNvCxnSpPr>
          <p:nvPr/>
        </p:nvCxnSpPr>
        <p:spPr>
          <a:xfrm flipV="1">
            <a:off x="2757483" y="4131939"/>
            <a:ext cx="7994564" cy="1340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Овал 11"/>
          <p:cNvSpPr/>
          <p:nvPr/>
        </p:nvSpPr>
        <p:spPr>
          <a:xfrm>
            <a:off x="2393131" y="4016572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1051057" y="4348368"/>
            <a:ext cx="29132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сентябрь 2019</a:t>
            </a: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Определение </a:t>
            </a:r>
            <a:r>
              <a:rPr lang="ru-RU" sz="1600" dirty="0">
                <a:latin typeface="Fregat" pitchFamily="50" charset="0"/>
                <a:ea typeface="Calibri"/>
                <a:cs typeface="Times New Roman" panose="02020603050405020304" pitchFamily="18" charset="0"/>
              </a:rPr>
              <a:t>полей для расширения выгрузки </a:t>
            </a: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данных</a:t>
            </a:r>
          </a:p>
        </p:txBody>
      </p:sp>
      <p:sp>
        <p:nvSpPr>
          <p:cNvPr id="25" name="Овал 24"/>
          <p:cNvSpPr/>
          <p:nvPr/>
        </p:nvSpPr>
        <p:spPr>
          <a:xfrm>
            <a:off x="4469302" y="4003365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3264685" y="4381963"/>
            <a:ext cx="29132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н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оябрь 2019</a:t>
            </a: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Развертывание</a:t>
            </a: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веб-приложения </a:t>
            </a:r>
            <a:endParaRPr lang="ru-RU" sz="1600" dirty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0500047" y="4005939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29"/>
          <p:cNvSpPr/>
          <p:nvPr/>
        </p:nvSpPr>
        <p:spPr>
          <a:xfrm>
            <a:off x="8767589" y="4248663"/>
            <a:ext cx="35889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январь – февраль 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2020</a:t>
            </a:r>
            <a:endParaRPr lang="ru-RU" sz="1600" dirty="0" smtClean="0">
              <a:solidFill>
                <a:srgbClr val="0070C0"/>
              </a:solidFill>
              <a:latin typeface="Fregat" pitchFamily="50" charset="0"/>
              <a:ea typeface="Calibri"/>
              <a:cs typeface="Times New Roman" panose="02020603050405020304" pitchFamily="18" charset="0"/>
            </a:endParaRP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Критерии эффективности разработанного веб – приложения</a:t>
            </a:r>
            <a:endParaRPr lang="ru-RU" sz="1600" dirty="0" smtClean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3297478" y="3996663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6826024" y="4005939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2011047" y="3087411"/>
            <a:ext cx="29132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Fregat" pitchFamily="50" charset="0"/>
                <a:ea typeface="Calibri"/>
                <a:cs typeface="Times New Roman" panose="02020603050405020304" pitchFamily="18" charset="0"/>
              </a:rPr>
              <a:t>Данные от </a:t>
            </a: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МТС, </a:t>
            </a:r>
            <a:r>
              <a:rPr lang="ru-RU" sz="1600" dirty="0" err="1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ВКонтакте</a:t>
            </a: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, Яндекс подбор слов</a:t>
            </a:r>
          </a:p>
          <a:p>
            <a:pPr algn="ctr"/>
            <a:r>
              <a:rPr lang="ru-RU" sz="1600" dirty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о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ктябрь 2019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4511635" y="2151218"/>
            <a:ext cx="216895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Создание карты</a:t>
            </a: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Fregat" pitchFamily="50" charset="0"/>
                <a:ea typeface="Calibri"/>
                <a:cs typeface="Times New Roman" panose="02020603050405020304" pitchFamily="18" charset="0"/>
              </a:rPr>
              <a:t>туристических объектов </a:t>
            </a:r>
            <a:endParaRPr lang="ru-RU" sz="1600" dirty="0" smtClean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  <a:p>
            <a:pPr algn="ctr"/>
            <a:r>
              <a:rPr lang="ru-RU" sz="1600" dirty="0" err="1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таргетинг</a:t>
            </a: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Fregat" pitchFamily="50" charset="0"/>
                <a:ea typeface="Calibri"/>
                <a:cs typeface="Times New Roman" panose="02020603050405020304" pitchFamily="18" charset="0"/>
              </a:rPr>
              <a:t>туристических </a:t>
            </a:r>
            <a:endParaRPr lang="ru-RU" sz="1600" dirty="0" smtClean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  <a:p>
            <a:pPr algn="ctr"/>
            <a:r>
              <a:rPr lang="ru-RU" sz="1600" dirty="0">
                <a:latin typeface="Fregat" pitchFamily="50" charset="0"/>
                <a:ea typeface="Calibri"/>
                <a:cs typeface="Times New Roman" panose="02020603050405020304" pitchFamily="18" charset="0"/>
              </a:rPr>
              <a:t>о</a:t>
            </a: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бъектов</a:t>
            </a:r>
          </a:p>
          <a:p>
            <a:pPr algn="ctr"/>
            <a:r>
              <a:rPr lang="ru-RU" sz="1600" dirty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н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оябрь 2019</a:t>
            </a:r>
            <a:endParaRPr lang="ru-RU" sz="1600" dirty="0">
              <a:solidFill>
                <a:srgbClr val="0070C0"/>
              </a:solidFill>
              <a:latin typeface="Fregat" pitchFamily="50" charset="0"/>
              <a:ea typeface="Calibri"/>
              <a:cs typeface="Times New Roman" panose="02020603050405020304" pitchFamily="18" charset="0"/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629" y="2088660"/>
            <a:ext cx="12573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503" y="2522719"/>
            <a:ext cx="1332208" cy="568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3874981" y="5204505"/>
            <a:ext cx="1692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00B050"/>
                </a:solidFill>
                <a:latin typeface="Fregat" pitchFamily="50" charset="0"/>
              </a:rPr>
              <a:t>travel.gov74.ru</a:t>
            </a:r>
            <a:endParaRPr lang="ru-RU" b="1" dirty="0">
              <a:solidFill>
                <a:srgbClr val="00B050"/>
              </a:solidFill>
              <a:latin typeface="Fregat" pitchFamily="50" charset="0"/>
            </a:endParaRPr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8276" y="1703660"/>
            <a:ext cx="585543" cy="585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8" name="Picture 8" descr="Картинки по запросу поля для данных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438" y="5170762"/>
            <a:ext cx="2259169" cy="1316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Овал 28"/>
          <p:cNvSpPr/>
          <p:nvPr/>
        </p:nvSpPr>
        <p:spPr>
          <a:xfrm>
            <a:off x="5470114" y="3995141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5835829" y="4319647"/>
            <a:ext cx="2496987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декабрь 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2019</a:t>
            </a:r>
            <a:endParaRPr lang="ru-RU" sz="1600" dirty="0" smtClean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Доработка решения в части аналитики и визуализации</a:t>
            </a:r>
          </a:p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Реализована разбивка по типу туризма фильтрации тепловой карты, аналитики и настроек</a:t>
            </a:r>
          </a:p>
        </p:txBody>
      </p:sp>
      <p:sp>
        <p:nvSpPr>
          <p:cNvPr id="26" name="Овал 25"/>
          <p:cNvSpPr/>
          <p:nvPr/>
        </p:nvSpPr>
        <p:spPr>
          <a:xfrm>
            <a:off x="8767590" y="3995141"/>
            <a:ext cx="252000" cy="252000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7809110" y="2770298"/>
            <a:ext cx="216895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latin typeface="Fregat" pitchFamily="50" charset="0"/>
                <a:ea typeface="Calibri"/>
                <a:cs typeface="Times New Roman" panose="02020603050405020304" pitchFamily="18" charset="0"/>
              </a:rPr>
              <a:t>Запуск медиа кампании на зимний период</a:t>
            </a:r>
            <a:endParaRPr lang="ru-RU" sz="1600" dirty="0" smtClean="0">
              <a:latin typeface="Fregat" pitchFamily="50" charset="0"/>
              <a:ea typeface="Calibri"/>
              <a:cs typeface="Times New Roman" panose="02020603050405020304" pitchFamily="18" charset="0"/>
            </a:endParaRPr>
          </a:p>
          <a:p>
            <a:pPr algn="ctr"/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декабрь </a:t>
            </a:r>
            <a:r>
              <a:rPr lang="ru-RU" sz="1600" dirty="0" smtClean="0">
                <a:solidFill>
                  <a:srgbClr val="0070C0"/>
                </a:solidFill>
                <a:latin typeface="Fregat" pitchFamily="50" charset="0"/>
                <a:ea typeface="Calibri"/>
                <a:cs typeface="Times New Roman" panose="02020603050405020304" pitchFamily="18" charset="0"/>
              </a:rPr>
              <a:t>2019</a:t>
            </a:r>
            <a:endParaRPr lang="ru-RU" sz="1600" dirty="0">
              <a:solidFill>
                <a:srgbClr val="0070C0"/>
              </a:solidFill>
              <a:latin typeface="Fregat" pitchFamily="50" charset="0"/>
              <a:ea typeface="Calibri"/>
              <a:cs typeface="Times New Roman" panose="02020603050405020304" pitchFamily="18" charset="0"/>
            </a:endParaRPr>
          </a:p>
        </p:txBody>
      </p:sp>
      <p:pic>
        <p:nvPicPr>
          <p:cNvPr id="39" name="Picture 1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4898" y="2775776"/>
            <a:ext cx="1437657" cy="106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080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РЕЗУЛЬТАТ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427928" y="1633409"/>
            <a:ext cx="91280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Times New Roman" panose="02020603050405020304" pitchFamily="18" charset="0"/>
              </a:rPr>
              <a:t>Медиа кампания в федеральные и региональные СМИ к новому году</a:t>
            </a:r>
            <a:endParaRPr lang="ru-RU" dirty="0">
              <a:latin typeface="Fregat" pitchFamily="50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088" y="5182488"/>
            <a:ext cx="2600104" cy="1531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151670" y="2047300"/>
            <a:ext cx="4762825" cy="3108543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68000">
                <a:schemeClr val="accent1">
                  <a:tint val="44500"/>
                  <a:satMod val="160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ru-RU" sz="1500" dirty="0" smtClean="0">
                <a:latin typeface="Fregat" pitchFamily="50" charset="0"/>
              </a:rPr>
              <a:t>Номер </a:t>
            </a:r>
            <a:r>
              <a:rPr lang="ru-RU" sz="1500" dirty="0">
                <a:latin typeface="Fregat" pitchFamily="50" charset="0"/>
              </a:rPr>
              <a:t>бортового журнала компании "Уральские авиалинии" со статьей "Пять причин провести зимние каникулы в Челябинской области". </a:t>
            </a:r>
            <a:r>
              <a:rPr lang="ru-RU" sz="1500" dirty="0" err="1">
                <a:latin typeface="Fregat" pitchFamily="50" charset="0"/>
              </a:rPr>
              <a:t>П</a:t>
            </a:r>
            <a:r>
              <a:rPr lang="ru-RU" sz="1500" dirty="0" err="1" smtClean="0">
                <a:latin typeface="Fregat" pitchFamily="50" charset="0"/>
              </a:rPr>
              <a:t>ассажироохват</a:t>
            </a:r>
            <a:r>
              <a:rPr lang="ru-RU" sz="1500" dirty="0" smtClean="0">
                <a:latin typeface="Fregat" pitchFamily="50" charset="0"/>
              </a:rPr>
              <a:t> около </a:t>
            </a:r>
            <a:r>
              <a:rPr lang="ru-RU" sz="1500" dirty="0">
                <a:latin typeface="Fregat" pitchFamily="50" charset="0"/>
              </a:rPr>
              <a:t>1 млн </a:t>
            </a:r>
            <a:r>
              <a:rPr lang="ru-RU" sz="1500" dirty="0" smtClean="0">
                <a:latin typeface="Fregat" pitchFamily="50" charset="0"/>
              </a:rPr>
              <a:t>чел.</a:t>
            </a:r>
            <a:endParaRPr lang="ru-RU" sz="1500" dirty="0">
              <a:latin typeface="Fregat" pitchFamily="50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ru-RU" sz="1500" dirty="0" smtClean="0">
                <a:latin typeface="Fregat" pitchFamily="50" charset="0"/>
              </a:rPr>
              <a:t>Номер "Путеводитель </a:t>
            </a:r>
            <a:r>
              <a:rPr lang="ru-RU" sz="1500" dirty="0">
                <a:latin typeface="Fregat" pitchFamily="50" charset="0"/>
              </a:rPr>
              <a:t>по Москве", распространяемый бесплатно в аэропорту </a:t>
            </a:r>
            <a:r>
              <a:rPr lang="ru-RU" sz="1500" dirty="0" smtClean="0">
                <a:latin typeface="Fregat" pitchFamily="50" charset="0"/>
              </a:rPr>
              <a:t>Шереметьево, тираж: </a:t>
            </a:r>
            <a:r>
              <a:rPr lang="ru-RU" sz="1500" dirty="0">
                <a:latin typeface="Fregat" pitchFamily="50" charset="0"/>
              </a:rPr>
              <a:t>60 </a:t>
            </a:r>
            <a:r>
              <a:rPr lang="ru-RU" sz="1500" dirty="0" smtClean="0">
                <a:latin typeface="Fregat" pitchFamily="50" charset="0"/>
              </a:rPr>
              <a:t>тыс. </a:t>
            </a:r>
            <a:r>
              <a:rPr lang="ru-RU" sz="1500" dirty="0">
                <a:latin typeface="Fregat" pitchFamily="50" charset="0"/>
              </a:rPr>
              <a:t>на русском языке, 35 </a:t>
            </a:r>
            <a:r>
              <a:rPr lang="ru-RU" sz="1500" dirty="0" smtClean="0">
                <a:latin typeface="Fregat" pitchFamily="50" charset="0"/>
              </a:rPr>
              <a:t>тыс. - </a:t>
            </a:r>
            <a:r>
              <a:rPr lang="ru-RU" sz="1500" dirty="0">
                <a:latin typeface="Fregat" pitchFamily="50" charset="0"/>
              </a:rPr>
              <a:t>на английском, </a:t>
            </a:r>
            <a:r>
              <a:rPr lang="ru-RU" sz="1500" dirty="0" smtClean="0">
                <a:latin typeface="Fregat" pitchFamily="50" charset="0"/>
              </a:rPr>
              <a:t>25 тыс. </a:t>
            </a:r>
            <a:r>
              <a:rPr lang="ru-RU" sz="1500" dirty="0">
                <a:latin typeface="Fregat" pitchFamily="50" charset="0"/>
              </a:rPr>
              <a:t>- на </a:t>
            </a:r>
            <a:r>
              <a:rPr lang="ru-RU" sz="1500" dirty="0" smtClean="0">
                <a:latin typeface="Fregat" pitchFamily="50" charset="0"/>
              </a:rPr>
              <a:t>китайском.</a:t>
            </a:r>
            <a:endParaRPr lang="ru-RU" sz="1500" dirty="0">
              <a:latin typeface="Fregat" pitchFamily="50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ru-RU" sz="1500" dirty="0" smtClean="0">
                <a:latin typeface="Fregat" pitchFamily="50" charset="0"/>
              </a:rPr>
              <a:t>Интервью </a:t>
            </a:r>
            <a:r>
              <a:rPr lang="ru-RU" sz="1500" dirty="0">
                <a:latin typeface="Fregat" pitchFamily="50" charset="0"/>
              </a:rPr>
              <a:t>на радио </a:t>
            </a:r>
            <a:r>
              <a:rPr lang="ru-RU" sz="1500" dirty="0" smtClean="0">
                <a:latin typeface="Fregat" pitchFamily="50" charset="0"/>
              </a:rPr>
              <a:t>«Комсомольская правда» с </a:t>
            </a:r>
            <a:r>
              <a:rPr lang="ru-RU" sz="1500" dirty="0">
                <a:latin typeface="Fregat" pitchFamily="50" charset="0"/>
              </a:rPr>
              <a:t>директором ЦРТ Дмитрием Столбовым по событийному сезону зимой</a:t>
            </a:r>
            <a:r>
              <a:rPr lang="ru-RU" sz="1500" dirty="0" smtClean="0">
                <a:latin typeface="Fregat" pitchFamily="50" charset="0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endParaRPr lang="ru-RU" sz="1600" dirty="0"/>
          </a:p>
        </p:txBody>
      </p:sp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4337" y="2038569"/>
            <a:ext cx="2250409" cy="2772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660" y="2047300"/>
            <a:ext cx="2748960" cy="2763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484362" y="4813156"/>
            <a:ext cx="91280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Times New Roman" panose="02020603050405020304" pitchFamily="18" charset="0"/>
              </a:rPr>
              <a:t>Разработаны </a:t>
            </a:r>
            <a:r>
              <a:rPr lang="ru-RU" dirty="0">
                <a:latin typeface="Fregat" pitchFamily="50" charset="0"/>
                <a:ea typeface="Open Sans" panose="020B0606030504020204" pitchFamily="34" charset="0"/>
                <a:cs typeface="Times New Roman" panose="02020603050405020304" pitchFamily="18" charset="0"/>
              </a:rPr>
              <a:t>рекламные 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Times New Roman" panose="02020603050405020304" pitchFamily="18" charset="0"/>
              </a:rPr>
              <a:t>посты</a:t>
            </a:r>
            <a:endParaRPr lang="ru-RU" dirty="0">
              <a:latin typeface="Fregat" pitchFamily="50" charset="0"/>
              <a:ea typeface="Open Sans" panose="020B06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67221" y="1179303"/>
            <a:ext cx="106493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Fregat" pitchFamily="50" charset="0"/>
              </a:rPr>
              <a:t>ЗАПУСК К НОВОМУ ГОДУ МЕДИА КАМПАНИИ НА ПРОДВИЖЕНИЕ ТУРИСТИЧЕСКИХ ОБЪЕКТОВ</a:t>
            </a:r>
            <a:endParaRPr lang="ru-RU" sz="2000" b="1" dirty="0">
              <a:solidFill>
                <a:srgbClr val="C00000"/>
              </a:solidFill>
              <a:latin typeface="Fregat" pitchFamily="50" charset="0"/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011" y="5197050"/>
            <a:ext cx="1899021" cy="1516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7167" y="5183962"/>
            <a:ext cx="2086416" cy="154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4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030" y="5194296"/>
            <a:ext cx="2001650" cy="1484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9631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СПОСОБЫ ИЗМЕРЕНИЯ ЭФФЕКТИВНОСТИ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254151" y="931580"/>
            <a:ext cx="44275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 smtClean="0">
                <a:solidFill>
                  <a:srgbClr val="C00000"/>
                </a:solidFill>
                <a:latin typeface="Fregat" pitchFamily="50" charset="0"/>
              </a:rPr>
              <a:t>1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108680" y="1209227"/>
            <a:ext cx="5523042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err="1" smtClean="0">
                <a:solidFill>
                  <a:schemeClr val="tx1"/>
                </a:solidFill>
                <a:latin typeface="Fregat" pitchFamily="50" charset="0"/>
              </a:rPr>
              <a:t>Промокод</a:t>
            </a:r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 в рекламных постах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243243" y="2291622"/>
            <a:ext cx="55175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 smtClean="0">
                <a:solidFill>
                  <a:srgbClr val="C00000"/>
                </a:solidFill>
                <a:latin typeface="Fregat" pitchFamily="50" charset="0"/>
              </a:rPr>
              <a:t>2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108680" y="2721406"/>
            <a:ext cx="6604814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Опрос на сайтах туристических объектов                 и анкетирование туристов </a:t>
            </a:r>
          </a:p>
        </p:txBody>
      </p: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495" y="2753287"/>
            <a:ext cx="1100033" cy="1109949"/>
          </a:xfrm>
          <a:prstGeom prst="ellipse">
            <a:avLst/>
          </a:prstGeom>
          <a:ln w="9525">
            <a:solidFill>
              <a:schemeClr val="bg1"/>
            </a:solidFill>
            <a:miter lim="800000"/>
            <a:headEnd/>
            <a:tailEnd/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254152" y="3799963"/>
            <a:ext cx="55175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  <a:latin typeface="Fregat" pitchFamily="50" charset="0"/>
              </a:rPr>
              <a:t>3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136853" y="4211022"/>
            <a:ext cx="6396480" cy="1024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Запрос статистики от туристических объектов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531" y="1246662"/>
            <a:ext cx="1317725" cy="116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Овал 1"/>
          <p:cNvSpPr/>
          <p:nvPr/>
        </p:nvSpPr>
        <p:spPr>
          <a:xfrm>
            <a:off x="2740495" y="2766933"/>
            <a:ext cx="1153433" cy="1109951"/>
          </a:xfrm>
          <a:prstGeom prst="ellipse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122" name="Picture 2" descr="https://imageog.flaticon.com/icons/png/512/568/568247.png?size=1200x630f&amp;pad=10,10,10,10&amp;ext=png&amp;bg=FFFFFFFF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6750" r="95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129" y="4184122"/>
            <a:ext cx="2053982" cy="1078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225979" y="5176758"/>
            <a:ext cx="575799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  <a:latin typeface="Fregat" pitchFamily="50" charset="0"/>
              </a:rPr>
              <a:t>4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369540" y="5440115"/>
            <a:ext cx="6773727" cy="1024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Решение «Мой турист» </a:t>
            </a:r>
          </a:p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Аналитика по осведомленности аудитории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05906" y="5363031"/>
            <a:ext cx="2563634" cy="109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563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189" y="4253712"/>
            <a:ext cx="3629510" cy="2030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368" y="4254843"/>
            <a:ext cx="3518819" cy="2233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ЭФФЕКТЫ ОТ ВНЕДРЕНИЯ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76" t="14194" r="14204" b="6159"/>
          <a:stretch/>
        </p:blipFill>
        <p:spPr bwMode="auto">
          <a:xfrm>
            <a:off x="1110369" y="1200992"/>
            <a:ext cx="5392942" cy="2979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2" name="Picture 2" descr="https://chelrelax174.ru/wp-content/uploads/2018/10/IMG_20181003_084113.pn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94" b="6159"/>
          <a:stretch/>
        </p:blipFill>
        <p:spPr bwMode="auto">
          <a:xfrm>
            <a:off x="6443944" y="1200992"/>
            <a:ext cx="5748055" cy="29796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635" y="4009390"/>
            <a:ext cx="3971366" cy="2594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110369" y="3343835"/>
            <a:ext cx="5333574" cy="93851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Fregat" pitchFamily="50" charset="0"/>
              </a:rPr>
              <a:t>Выстраивание эффективной маркетинговой и продуктовой стратегии по привлечению туристов на курорты Южного </a:t>
            </a:r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Урала</a:t>
            </a:r>
            <a:endParaRPr lang="ru-RU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43944" y="3343835"/>
            <a:ext cx="5748055" cy="93851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Fregat" pitchFamily="50" charset="0"/>
              </a:rPr>
              <a:t>У</a:t>
            </a:r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величение </a:t>
            </a:r>
            <a:r>
              <a:rPr lang="ru-RU" dirty="0">
                <a:solidFill>
                  <a:schemeClr val="tx1"/>
                </a:solidFill>
                <a:latin typeface="Fregat" pitchFamily="50" charset="0"/>
              </a:rPr>
              <a:t>заполняемости номерного фонда действующих объектов туристической инфраструктуры </a:t>
            </a:r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региона в 2 раза</a:t>
            </a:r>
            <a:endParaRPr lang="ru-RU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220635" y="6055568"/>
            <a:ext cx="3971363" cy="81681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Увеличение турпотока на 7 % </a:t>
            </a:r>
          </a:p>
          <a:p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в 2020 г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629188" y="6055568"/>
            <a:ext cx="3629511" cy="80895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Освоили технологию работы </a:t>
            </a:r>
          </a:p>
          <a:p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с </a:t>
            </a:r>
            <a:r>
              <a:rPr lang="en-US" dirty="0" smtClean="0">
                <a:solidFill>
                  <a:schemeClr val="tx1"/>
                </a:solidFill>
                <a:latin typeface="Fregat" pitchFamily="50" charset="0"/>
              </a:rPr>
              <a:t>Docker</a:t>
            </a:r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 контейнером</a:t>
            </a:r>
            <a:endParaRPr lang="ru-RU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110369" y="6055567"/>
            <a:ext cx="3518818" cy="80176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chemeClr val="tx1"/>
                </a:solidFill>
                <a:latin typeface="Fregat" pitchFamily="50" charset="0"/>
              </a:rPr>
              <a:t>Увеличение ВРП на 2 % к 2022 г.</a:t>
            </a:r>
          </a:p>
        </p:txBody>
      </p:sp>
    </p:spTree>
    <p:extLst>
      <p:ext uri="{BB962C8B-B14F-4D97-AF65-F5344CB8AC3E}">
        <p14:creationId xmlns:p14="http://schemas.microsoft.com/office/powerpoint/2010/main" val="3388393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https://gorets-media.ru/uploads/images/vestisgor/2015/July/.thumbs/2dfbcfc71f719f026687581f1c528aa0_900_600_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66"/>
          <a:stretch/>
        </p:blipFill>
        <p:spPr bwMode="auto">
          <a:xfrm>
            <a:off x="1097270" y="0"/>
            <a:ext cx="1109473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859" b="98592" l="9589" r="7534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4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417924" y="329817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bg1"/>
                </a:solidFill>
                <a:latin typeface="Fregat" pitchFamily="50" charset="0"/>
              </a:rPr>
              <a:t>ПОКАЗАТЕЛИ</a:t>
            </a:r>
            <a:endParaRPr lang="ru-RU" sz="3600" b="1" dirty="0">
              <a:solidFill>
                <a:schemeClr val="bg1"/>
              </a:solidFill>
              <a:latin typeface="Fregat" pitchFamily="50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254151" y="343465"/>
            <a:ext cx="0" cy="573206"/>
          </a:xfrm>
          <a:prstGeom prst="line">
            <a:avLst/>
          </a:prstGeom>
          <a:ln w="571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315088" y="1273029"/>
            <a:ext cx="60421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Fregat" pitchFamily="50" charset="0"/>
              </a:rPr>
              <a:t>КОЛИЧЕСТВО ТУРИСТОВ </a:t>
            </a:r>
          </a:p>
          <a:p>
            <a:r>
              <a:rPr lang="ru-RU" sz="2800" b="1" dirty="0" smtClean="0">
                <a:solidFill>
                  <a:schemeClr val="accent5">
                    <a:lumMod val="40000"/>
                    <a:lumOff val="60000"/>
                  </a:schemeClr>
                </a:solidFill>
                <a:latin typeface="Fregat" pitchFamily="50" charset="0"/>
              </a:rPr>
              <a:t>В ЗИМНИЙ СЕЗОН, ЧЕЛ.</a:t>
            </a:r>
            <a:endParaRPr lang="ru-RU" sz="2800" b="1" dirty="0">
              <a:solidFill>
                <a:schemeClr val="accent5">
                  <a:lumMod val="40000"/>
                  <a:lumOff val="60000"/>
                </a:schemeClr>
              </a:solidFill>
              <a:latin typeface="Fregat" pitchFamily="50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355731" y="3028352"/>
            <a:ext cx="179683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FFC000"/>
                </a:solidFill>
                <a:latin typeface="Fregat" pitchFamily="50" charset="0"/>
              </a:rPr>
              <a:t>270 000</a:t>
            </a:r>
            <a:endParaRPr lang="ru-RU" sz="3600" dirty="0">
              <a:solidFill>
                <a:srgbClr val="FFC000"/>
              </a:solidFill>
              <a:latin typeface="Fregat" pitchFamily="50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90182" y="3613666"/>
            <a:ext cx="18623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FFC000"/>
                </a:solidFill>
                <a:latin typeface="Fregat" pitchFamily="50" charset="0"/>
              </a:rPr>
              <a:t>данные 2019 г.</a:t>
            </a:r>
            <a:endParaRPr lang="ru-RU" dirty="0">
              <a:solidFill>
                <a:srgbClr val="FFC000"/>
              </a:solidFill>
              <a:latin typeface="Fregat" pitchFamily="50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207728" y="5895833"/>
            <a:ext cx="8887902" cy="989463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softEdge rad="127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6816949" y="1903970"/>
            <a:ext cx="18737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>
                <a:solidFill>
                  <a:schemeClr val="accent5">
                    <a:lumMod val="75000"/>
                  </a:schemeClr>
                </a:solidFill>
                <a:latin typeface="Fregat" pitchFamily="50" charset="0"/>
              </a:rPr>
              <a:t>310 500</a:t>
            </a:r>
            <a:endParaRPr lang="ru-RU" sz="3600" b="1" dirty="0">
              <a:solidFill>
                <a:schemeClr val="accent5">
                  <a:lumMod val="75000"/>
                </a:schemeClr>
              </a:solidFill>
              <a:latin typeface="Fregat" pitchFamily="50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504802" y="2578072"/>
            <a:ext cx="27266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Fregat" pitchFamily="50" charset="0"/>
              </a:rPr>
              <a:t>Ожидаемое количество в 2020 году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Fregat" pitchFamily="50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55731" y="6067401"/>
            <a:ext cx="105997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Fregat" pitchFamily="50" charset="0"/>
              </a:rPr>
              <a:t>ЗНАЧЕНИЯ ПО ПОКАЗАТЕЛЯМ ОПРЕДЕЛЯЮТСЯ ПО ЗАПРОСУ ИНФОРМАЦИИ </a:t>
            </a:r>
          </a:p>
          <a:p>
            <a:pPr algn="ctr"/>
            <a:r>
              <a:rPr lang="ru-RU" b="1" dirty="0" smtClean="0">
                <a:latin typeface="Fregat" pitchFamily="50" charset="0"/>
              </a:rPr>
              <a:t>О ПОСЕЩАЕМОСТИ ПО ИТОГАМ ЗИМНЕГО СЕЗОНА</a:t>
            </a:r>
            <a:endParaRPr lang="ru-RU" b="1" dirty="0">
              <a:latin typeface="Frega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48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01" name="Picture 9" descr="https://img2.freepng.ru/20180319/ytq/kisspng-computer-icons-user-profile-head-ico-download-5ab08531be1453.284775831521517873778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085" y="4959923"/>
            <a:ext cx="1323476" cy="848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205905" y="658408"/>
            <a:ext cx="2970310" cy="13887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229488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254151" y="439002"/>
            <a:ext cx="7869148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 smtClean="0">
                <a:solidFill>
                  <a:schemeClr val="tx1"/>
                </a:solidFill>
                <a:latin typeface="Fregat" pitchFamily="50" charset="0"/>
              </a:rPr>
              <a:t>КОМАНДА «ЧЕЛЯБИНСКОЙ ОБЛАСТИ»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7817" y="1593440"/>
            <a:ext cx="1123275" cy="110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828801" y="1352786"/>
            <a:ext cx="4294498" cy="158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Фетисов Игорь Борисович </a:t>
            </a:r>
            <a:endParaRPr lang="ru-RU" sz="2000" b="1" dirty="0" smtClean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>
              <a:spcAft>
                <a:spcPts val="600"/>
              </a:spcAft>
            </a:pP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ервый </a:t>
            </a: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заместитель Министра информационных технологий и связи Челябинской 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бласти</a:t>
            </a:r>
            <a:endParaRPr lang="ru-RU" dirty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+7-351-232-08-75 </a:t>
            </a:r>
            <a:r>
              <a:rPr lang="en-US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f</a:t>
            </a:r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etisov@mininform74.ru</a:t>
            </a:r>
            <a:endParaRPr lang="ru-RU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51953" y="4779296"/>
            <a:ext cx="4390038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авлов Сергей </a:t>
            </a:r>
            <a:r>
              <a:rPr lang="ru-RU" sz="2000" b="1" dirty="0" err="1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авлинович</a:t>
            </a:r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endParaRPr lang="ru-RU" sz="2000" b="1" dirty="0" smtClean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>
              <a:spcAft>
                <a:spcPts val="600"/>
              </a:spcAft>
            </a:pP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начальник отдела создания и развития информационных 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истем</a:t>
            </a:r>
          </a:p>
          <a:p>
            <a:pPr lvl="0"/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+</a:t>
            </a:r>
            <a:r>
              <a:rPr lang="ru-RU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7 -</a:t>
            </a:r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351-211-68-27, </a:t>
            </a:r>
            <a:r>
              <a:rPr lang="en-US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s</a:t>
            </a:r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.</a:t>
            </a:r>
            <a:r>
              <a:rPr lang="en-US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p</a:t>
            </a:r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avlov@mininform74.ru</a:t>
            </a:r>
            <a:endParaRPr lang="ru-RU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266658" y="3092044"/>
            <a:ext cx="4465091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толбов Дмитрий Александрович </a:t>
            </a:r>
            <a:endParaRPr lang="ru-RU" sz="2000" b="1" dirty="0" smtClean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>
              <a:spcAft>
                <a:spcPts val="600"/>
              </a:spcAft>
            </a:pP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Директор ОГБУК «Центр развития туризма Челябинской области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»</a:t>
            </a:r>
            <a:endParaRPr lang="ru-RU" dirty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r>
              <a:rPr lang="ru-RU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+7- </a:t>
            </a:r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351-263-12-63, ogbuk_crt@mail.ru</a:t>
            </a:r>
            <a:endParaRPr lang="ru-RU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656391" y="3277585"/>
            <a:ext cx="4465091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 err="1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укинова</a:t>
            </a:r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Ольга Викторовна </a:t>
            </a:r>
            <a:endParaRPr lang="ru-RU" sz="2000" b="1" dirty="0" smtClean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>
              <a:spcAft>
                <a:spcPts val="600"/>
              </a:spcAft>
            </a:pP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ресс-секретарь </a:t>
            </a: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ГБУК «Центр развития туризма Челябинской области»</a:t>
            </a:r>
          </a:p>
          <a:p>
            <a:endParaRPr lang="ru-RU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656390" y="4779296"/>
            <a:ext cx="4465091" cy="15850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b="1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етрова Юлия Викторовна </a:t>
            </a:r>
            <a:endParaRPr lang="ru-RU" sz="2000" b="1" dirty="0" smtClean="0"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>
              <a:spcAft>
                <a:spcPts val="600"/>
              </a:spcAft>
            </a:pP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едущий специалист </a:t>
            </a:r>
            <a:r>
              <a:rPr lang="ru-RU" dirty="0" err="1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Мининформа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</a:t>
            </a:r>
            <a:r>
              <a:rPr lang="ru-RU" dirty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Челябинской </a:t>
            </a:r>
            <a:r>
              <a:rPr lang="ru-RU" dirty="0" smtClean="0"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бласти</a:t>
            </a:r>
          </a:p>
          <a:p>
            <a:pPr lvl="0"/>
            <a:r>
              <a:rPr lang="ru-RU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+7-351-211-66-06, </a:t>
            </a:r>
            <a:r>
              <a:rPr lang="en-US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u.petrova@mininform74.ru</a:t>
            </a:r>
            <a:endParaRPr lang="en-US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pPr lvl="0"/>
            <a:endParaRPr lang="ru-RU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  <p:pic>
        <p:nvPicPr>
          <p:cNvPr id="819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877" y="3277585"/>
            <a:ext cx="928275" cy="936969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4048" y="3273671"/>
            <a:ext cx="987888" cy="997791"/>
          </a:xfrm>
          <a:prstGeom prst="ellipse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945" y="4881089"/>
            <a:ext cx="1058091" cy="1033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4013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558113" y="2745473"/>
            <a:ext cx="10015187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 smtClean="0">
                <a:solidFill>
                  <a:schemeClr val="tx1"/>
                </a:solidFill>
                <a:latin typeface="Fregat" pitchFamily="50" charset="0"/>
              </a:rPr>
              <a:t>ЧЕЛЯБИНСКАЯ ОБЛАСТЬ – ТЫ ВИДЕЛ НЕ ВСЁ…</a:t>
            </a:r>
          </a:p>
        </p:txBody>
      </p:sp>
    </p:spTree>
    <p:extLst>
      <p:ext uri="{BB962C8B-B14F-4D97-AF65-F5344CB8AC3E}">
        <p14:creationId xmlns:p14="http://schemas.microsoft.com/office/powerpoint/2010/main" val="2493034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81" t="20765" r="14845" b="17814"/>
          <a:stretch/>
        </p:blipFill>
        <p:spPr>
          <a:xfrm>
            <a:off x="1453075" y="546359"/>
            <a:ext cx="10088912" cy="54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Big               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06"/>
          <a:stretch/>
        </p:blipFill>
        <p:spPr bwMode="auto">
          <a:xfrm>
            <a:off x="-49675" y="3949789"/>
            <a:ext cx="8152203" cy="290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Big                             .                                        .sam 7634  2 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8338" y="-1"/>
            <a:ext cx="8142345" cy="3564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mtvorez.ru/photo/20160523160753/20160523160925_2_.jpg?146400896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683" y="0"/>
            <a:ext cx="5360203" cy="3572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9675" y="9180"/>
            <a:ext cx="5361195" cy="3576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 descr="https://avatars.mds.yandex.net/get-pdb/1789050/1277e4bc-b1d6-4bb8-b200-008ab9f7bce5/s120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0096" y="3572072"/>
            <a:ext cx="5280587" cy="3285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-49675" y="2852936"/>
            <a:ext cx="12290357" cy="15361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147132" y="3185716"/>
            <a:ext cx="1736389" cy="6976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ru-RU" sz="3700" b="1" dirty="0">
                <a:solidFill>
                  <a:srgbClr val="C00000"/>
                </a:solidFill>
                <a:latin typeface="Fregat" pitchFamily="50" charset="0"/>
              </a:rPr>
              <a:t>3000</a:t>
            </a:r>
          </a:p>
        </p:txBody>
      </p:sp>
      <p:pic>
        <p:nvPicPr>
          <p:cNvPr id="2050" name="Picture 2" descr="https://i.pinimg.com/originals/fc/b3/84/fcb384d4e2ed6156eb5935e2fd3739b3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8" t="21823" r="12024" b="26909"/>
          <a:stretch/>
        </p:blipFill>
        <p:spPr bwMode="auto">
          <a:xfrm>
            <a:off x="72792" y="3114005"/>
            <a:ext cx="1990761" cy="1014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967542" y="3716386"/>
            <a:ext cx="1736389" cy="415494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900" b="1" dirty="0">
                <a:latin typeface="Fregat" pitchFamily="50" charset="0"/>
              </a:rPr>
              <a:t>озёр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085441" y="2992773"/>
            <a:ext cx="822239" cy="6976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700" b="1" dirty="0" smtClean="0">
                <a:solidFill>
                  <a:srgbClr val="C00000"/>
                </a:solidFill>
                <a:latin typeface="Fregat" pitchFamily="50" charset="0"/>
              </a:rPr>
              <a:t>12</a:t>
            </a:r>
            <a:endParaRPr lang="ru-RU" sz="3700" b="1" dirty="0">
              <a:solidFill>
                <a:srgbClr val="C00000"/>
              </a:solidFill>
              <a:latin typeface="Fregat" pitchFamily="50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27648" y="3525010"/>
            <a:ext cx="3137824" cy="70788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900" b="1" dirty="0">
                <a:latin typeface="Fregat" pitchFamily="50" charset="0"/>
              </a:rPr>
              <a:t>горнолыжных </a:t>
            </a:r>
          </a:p>
          <a:p>
            <a:pPr algn="ctr"/>
            <a:r>
              <a:rPr lang="ru-RU" sz="1900" b="1" dirty="0">
                <a:latin typeface="Fregat" pitchFamily="50" charset="0"/>
              </a:rPr>
              <a:t>комплексов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3577392" y="2948947"/>
            <a:ext cx="0" cy="1248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909643" y="2992773"/>
            <a:ext cx="822239" cy="6976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700" b="1" dirty="0">
                <a:solidFill>
                  <a:srgbClr val="C00000"/>
                </a:solidFill>
                <a:latin typeface="Fregat" pitchFamily="50" charset="0"/>
              </a:rPr>
              <a:t>2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51851" y="3525010"/>
            <a:ext cx="3137824" cy="70788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900" b="1" dirty="0">
                <a:latin typeface="Fregat" pitchFamily="50" charset="0"/>
              </a:rPr>
              <a:t>национальных </a:t>
            </a:r>
          </a:p>
          <a:p>
            <a:pPr algn="ctr"/>
            <a:r>
              <a:rPr lang="ru-RU" sz="1900" b="1" dirty="0">
                <a:latin typeface="Fregat" pitchFamily="50" charset="0"/>
              </a:rPr>
              <a:t>парка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5393397" y="2985435"/>
            <a:ext cx="0" cy="1248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7877244" y="2955211"/>
            <a:ext cx="1242473" cy="6976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700" b="1" dirty="0" smtClean="0">
                <a:solidFill>
                  <a:srgbClr val="C00000"/>
                </a:solidFill>
                <a:latin typeface="Fregat" pitchFamily="50" charset="0"/>
              </a:rPr>
              <a:t>160</a:t>
            </a:r>
            <a:endParaRPr lang="ru-RU" sz="3700" b="1" dirty="0">
              <a:solidFill>
                <a:srgbClr val="C00000"/>
              </a:solidFill>
              <a:latin typeface="Fregat" pitchFamily="50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29568" y="3525010"/>
            <a:ext cx="3137824" cy="70788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900" b="1" dirty="0">
                <a:latin typeface="Fregat" pitchFamily="50" charset="0"/>
              </a:rPr>
              <a:t>особо охраняемых территорий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7313611" y="2986509"/>
            <a:ext cx="0" cy="1248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10338566" y="2955211"/>
            <a:ext cx="1242473" cy="697627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3700" b="1" dirty="0">
                <a:solidFill>
                  <a:srgbClr val="C00000"/>
                </a:solidFill>
                <a:latin typeface="Fregat" pitchFamily="50" charset="0"/>
              </a:rPr>
              <a:t>450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390891" y="3525784"/>
            <a:ext cx="3137824" cy="70788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1900" b="1" dirty="0">
                <a:latin typeface="Fregat" pitchFamily="50" charset="0"/>
              </a:rPr>
              <a:t>памятников истории</a:t>
            </a:r>
          </a:p>
          <a:p>
            <a:pPr algn="ctr"/>
            <a:r>
              <a:rPr lang="ru-RU" sz="1900" b="1" dirty="0">
                <a:latin typeface="Fregat" pitchFamily="50" charset="0"/>
              </a:rPr>
              <a:t>и культуры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9713877" y="2986509"/>
            <a:ext cx="0" cy="124800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127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840" y="368496"/>
            <a:ext cx="11075448" cy="6237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815149" y="2879677"/>
            <a:ext cx="2688609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Выгодное географическое положение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063319" y="2886507"/>
            <a:ext cx="3548418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Медицинский и санаторно-курортный потенциал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598089" y="2831917"/>
            <a:ext cx="3548418" cy="941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Рекреационный потенциал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041530" y="5174783"/>
            <a:ext cx="3559794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Запасы лечебных сапропелевых грязей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233668" y="5174782"/>
            <a:ext cx="3559794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Значительные запасы минеральных вод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213208" y="370768"/>
            <a:ext cx="4583376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 smtClean="0">
                <a:solidFill>
                  <a:schemeClr val="tx1"/>
                </a:solidFill>
                <a:latin typeface="Fregat" pitchFamily="50" charset="0"/>
              </a:rPr>
              <a:t>ТЕКУЩАЯ СИТУАЦИЯ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9218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796" y="179126"/>
            <a:ext cx="4879384" cy="871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8726" y="1957355"/>
            <a:ext cx="4800600" cy="311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020242" y="1884654"/>
            <a:ext cx="190475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 smtClean="0">
                <a:solidFill>
                  <a:srgbClr val="C00000"/>
                </a:solidFill>
                <a:latin typeface="Fregat" pitchFamily="50" charset="0"/>
              </a:rPr>
              <a:t>10,4%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020736" y="1745817"/>
            <a:ext cx="1994217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Мировая экономика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4103" name="Picture 7" descr="https://upload.wikimedia.org/wikipedia/commons/thumb/8/87/Wikt_Globe_Bullet.svg/1000px-Wikt_Globe_Bullet.svg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740" y="1779937"/>
            <a:ext cx="1132764" cy="1132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3166948" y="3282285"/>
            <a:ext cx="187968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5400" b="1" dirty="0" smtClean="0">
                <a:solidFill>
                  <a:srgbClr val="C00000"/>
                </a:solidFill>
                <a:latin typeface="Fregat" pitchFamily="50" charset="0"/>
              </a:rPr>
              <a:t>3,47%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20736" y="3162867"/>
            <a:ext cx="1994217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Российская Федерация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166948" y="4818936"/>
            <a:ext cx="1245854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5400" b="1" dirty="0" smtClean="0">
                <a:solidFill>
                  <a:srgbClr val="C00000"/>
                </a:solidFill>
                <a:latin typeface="Fregat" pitchFamily="50" charset="0"/>
              </a:rPr>
              <a:t>&lt;1</a:t>
            </a:r>
            <a:r>
              <a:rPr lang="ru-RU" sz="5400" b="1" dirty="0" smtClean="0">
                <a:solidFill>
                  <a:srgbClr val="C00000"/>
                </a:solidFill>
                <a:latin typeface="Fregat" pitchFamily="50" charset="0"/>
              </a:rPr>
              <a:t>%</a:t>
            </a:r>
            <a:endParaRPr lang="ru-RU" sz="5400" dirty="0">
              <a:solidFill>
                <a:srgbClr val="C0000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20736" y="4699518"/>
            <a:ext cx="2157990" cy="1201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 smtClean="0">
                <a:solidFill>
                  <a:schemeClr val="tx1"/>
                </a:solidFill>
                <a:latin typeface="Fregat" pitchFamily="50" charset="0"/>
              </a:rPr>
              <a:t>Челябинская область</a:t>
            </a:r>
            <a:endParaRPr lang="ru-RU" sz="28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4105" name="Picture 9" descr="https://img2.freepng.ru/20180711/wah/kisspng-flag-of-russia-map-royalty-free-russie-5b46b188280359.2696966415313596241639.jpg"/>
          <p:cNvPicPr>
            <a:picLocks noChangeAspect="1" noChangeArrowheads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8796" y="3227257"/>
            <a:ext cx="1788552" cy="1033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7" name="Picture 11" descr="http://mognovse.ru/mogno/769/768943/768943_html_1fc7372f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0722" y="4556583"/>
            <a:ext cx="1184799" cy="1486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0869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avatars.mds.yandex.net/get-pdb/750997/2a057b21-6952-498c-bed7-cf2d137f141a/s1200?webp=false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371" y="1"/>
            <a:ext cx="12215372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1558453" y="164637"/>
            <a:ext cx="9818135" cy="1788200"/>
          </a:xfrm>
          <a:prstGeom prst="rect">
            <a:avLst/>
          </a:prstGeom>
          <a:noFill/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2700"/>
          </a:p>
        </p:txBody>
      </p:sp>
      <p:pic>
        <p:nvPicPr>
          <p:cNvPr id="8" name="Picture 2" descr="https://avatars.mds.yandex.net/get-pdb/750997/2a057b21-6952-498c-bed7-cf2d137f141a/s1200?webp=false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6341" b="100000" l="4566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371" y="0"/>
            <a:ext cx="1221537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3670688" y="1250757"/>
            <a:ext cx="5017600" cy="720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 sz="2700"/>
          </a:p>
        </p:txBody>
      </p:sp>
      <p:sp>
        <p:nvSpPr>
          <p:cNvPr id="10" name="TextBox 9"/>
          <p:cNvSpPr txBox="1"/>
          <p:nvPr/>
        </p:nvSpPr>
        <p:spPr>
          <a:xfrm>
            <a:off x="1750475" y="428666"/>
            <a:ext cx="9409045" cy="1600439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ru-RU" sz="4800" dirty="0">
                <a:solidFill>
                  <a:schemeClr val="bg1">
                    <a:lumMod val="95000"/>
                  </a:schemeClr>
                </a:solidFill>
                <a:latin typeface="Fregat" pitchFamily="50" charset="0"/>
              </a:rPr>
              <a:t>ПОТОК ТУРИСТОВ ЕСТЬ, </a:t>
            </a:r>
          </a:p>
          <a:p>
            <a:r>
              <a:rPr lang="ru-RU" sz="4800" dirty="0">
                <a:solidFill>
                  <a:schemeClr val="bg1">
                    <a:lumMod val="95000"/>
                  </a:schemeClr>
                </a:solidFill>
                <a:latin typeface="Fregat" pitchFamily="50" charset="0"/>
              </a:rPr>
              <a:t>НО ОН </a:t>
            </a:r>
            <a:r>
              <a:rPr lang="ru-RU" sz="4800" dirty="0">
                <a:solidFill>
                  <a:schemeClr val="bg1"/>
                </a:solidFill>
                <a:latin typeface="Fregat" pitchFamily="50" charset="0"/>
              </a:rPr>
              <a:t>НЕУПРАВЛЯЕМЫЙ</a:t>
            </a:r>
          </a:p>
        </p:txBody>
      </p:sp>
    </p:spTree>
    <p:extLst>
      <p:ext uri="{BB962C8B-B14F-4D97-AF65-F5344CB8AC3E}">
        <p14:creationId xmlns:p14="http://schemas.microsoft.com/office/powerpoint/2010/main" val="3030351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ПРОБЛЕМЫ И ЗАДАЧИ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14837" y="1224459"/>
            <a:ext cx="22347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  <a:latin typeface="Fregat" pitchFamily="50" charset="0"/>
              </a:rPr>
              <a:t>ПРОБЛЕМЫ</a:t>
            </a:r>
            <a:endParaRPr lang="ru-RU" sz="3200" b="1" dirty="0">
              <a:solidFill>
                <a:srgbClr val="FF0000"/>
              </a:solidFill>
              <a:latin typeface="Fregat" pitchFamily="50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662704" y="2342600"/>
            <a:ext cx="232884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latin typeface="Fregat" pitchFamily="50" charset="0"/>
              </a:rPr>
              <a:t>Отсутствие работы </a:t>
            </a:r>
            <a:endParaRPr lang="ru-RU" sz="2000" dirty="0" smtClean="0">
              <a:latin typeface="Fregat" pitchFamily="50" charset="0"/>
            </a:endParaRPr>
          </a:p>
          <a:p>
            <a:pPr algn="ctr"/>
            <a:r>
              <a:rPr lang="ru-RU" sz="2000" dirty="0" smtClean="0">
                <a:latin typeface="Fregat" pitchFamily="50" charset="0"/>
              </a:rPr>
              <a:t>по </a:t>
            </a:r>
            <a:r>
              <a:rPr lang="ru-RU" sz="2000" dirty="0">
                <a:latin typeface="Fregat" pitchFamily="50" charset="0"/>
              </a:rPr>
              <a:t>сбору данных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2704" y="1475264"/>
            <a:ext cx="1293814" cy="968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9131523" y="2277645"/>
            <a:ext cx="276998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latin typeface="Fregat" pitchFamily="50" charset="0"/>
              </a:rPr>
              <a:t>Отсутствие </a:t>
            </a:r>
            <a:endParaRPr lang="ru-RU" sz="2000" dirty="0" smtClean="0">
              <a:latin typeface="Fregat" pitchFamily="50" charset="0"/>
            </a:endParaRPr>
          </a:p>
          <a:p>
            <a:pPr algn="ctr"/>
            <a:r>
              <a:rPr lang="ru-RU" sz="2000" dirty="0">
                <a:latin typeface="Fregat" pitchFamily="50" charset="0"/>
              </a:rPr>
              <a:t>в</a:t>
            </a:r>
            <a:r>
              <a:rPr lang="ru-RU" sz="2000" dirty="0" smtClean="0">
                <a:latin typeface="Fregat" pitchFamily="50" charset="0"/>
              </a:rPr>
              <a:t>заимодействия власти</a:t>
            </a:r>
          </a:p>
          <a:p>
            <a:pPr algn="ctr"/>
            <a:r>
              <a:rPr lang="ru-RU" sz="2000" dirty="0" smtClean="0">
                <a:latin typeface="Fregat" pitchFamily="50" charset="0"/>
              </a:rPr>
              <a:t> и бизнеса </a:t>
            </a:r>
            <a:endParaRPr lang="ru-RU" sz="2000" dirty="0">
              <a:latin typeface="Fregat" pitchFamily="50" charset="0"/>
            </a:endParaRPr>
          </a:p>
        </p:txBody>
      </p:sp>
      <p:pic>
        <p:nvPicPr>
          <p:cNvPr id="11268" name="Picture 4" descr="https://imageog.flaticon.com/icons/png/512/432/432662.png?size=1200x630f&amp;pad=10,10,10,10&amp;ext=png&amp;bg=FFFFFFF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523" y="3585696"/>
            <a:ext cx="2016161" cy="1058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0257" y="1510726"/>
            <a:ext cx="1389030" cy="828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1416124" y="3000921"/>
            <a:ext cx="163871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 smtClean="0">
                <a:solidFill>
                  <a:srgbClr val="00B050"/>
                </a:solidFill>
                <a:latin typeface="Fregat" pitchFamily="50" charset="0"/>
              </a:rPr>
              <a:t>ЗАДАЧИ</a:t>
            </a:r>
            <a:endParaRPr lang="ru-RU" sz="3200" b="1" dirty="0">
              <a:solidFill>
                <a:srgbClr val="00B050"/>
              </a:solidFill>
              <a:latin typeface="Fregat" pitchFamily="50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627731" y="3614233"/>
            <a:ext cx="4414515" cy="1121933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Оценка объема потенциальной </a:t>
            </a:r>
            <a:r>
              <a:rPr lang="ru-RU" sz="2000" dirty="0" smtClean="0">
                <a:solidFill>
                  <a:schemeClr val="tx1"/>
                </a:solidFill>
                <a:latin typeface="Fregat" pitchFamily="50" charset="0"/>
              </a:rPr>
              <a:t>аудитории, заинтересованной в </a:t>
            </a:r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туристических услугах по регионам</a:t>
            </a:r>
          </a:p>
        </p:txBody>
      </p:sp>
      <p:pic>
        <p:nvPicPr>
          <p:cNvPr id="11266" name="Picture 2" descr="https://img2.freepng.ru/20180418/sae/kisspng-suchmaschinenoptimierung-q-ergo-research-computer-5ad7078a3bfba2.8707614515240416102457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4355" y="3668772"/>
            <a:ext cx="990837" cy="1012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Прямоугольник 31"/>
          <p:cNvSpPr/>
          <p:nvPr/>
        </p:nvSpPr>
        <p:spPr>
          <a:xfrm>
            <a:off x="7740340" y="3461747"/>
            <a:ext cx="4469328" cy="1349482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Сегментация </a:t>
            </a:r>
            <a:r>
              <a:rPr lang="ru-RU" sz="2000" dirty="0" smtClean="0">
                <a:solidFill>
                  <a:schemeClr val="tx1"/>
                </a:solidFill>
                <a:latin typeface="Fregat" pitchFamily="50" charset="0"/>
              </a:rPr>
              <a:t>рынка: </a:t>
            </a:r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по </a:t>
            </a:r>
            <a:r>
              <a:rPr lang="ru-RU" sz="2000" dirty="0" smtClean="0">
                <a:solidFill>
                  <a:schemeClr val="tx1"/>
                </a:solidFill>
                <a:latin typeface="Fregat" pitchFamily="50" charset="0"/>
              </a:rPr>
              <a:t>полу, местоположению, возрасту</a:t>
            </a:r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, </a:t>
            </a:r>
            <a:endParaRPr lang="ru-RU" sz="2000" dirty="0" smtClean="0">
              <a:solidFill>
                <a:schemeClr val="tx1"/>
              </a:solidFill>
              <a:latin typeface="Fregat" pitchFamily="50" charset="0"/>
            </a:endParaRPr>
          </a:p>
          <a:p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и</a:t>
            </a:r>
            <a:r>
              <a:rPr lang="ru-RU" sz="2000" dirty="0" smtClean="0">
                <a:solidFill>
                  <a:schemeClr val="tx1"/>
                </a:solidFill>
                <a:latin typeface="Fregat" pitchFamily="50" charset="0"/>
              </a:rPr>
              <a:t>нтересам, семейному </a:t>
            </a:r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положению, </a:t>
            </a:r>
            <a:endParaRPr lang="ru-RU" sz="2000" dirty="0" smtClean="0">
              <a:solidFill>
                <a:schemeClr val="tx1"/>
              </a:solidFill>
              <a:latin typeface="Fregat" pitchFamily="50" charset="0"/>
            </a:endParaRPr>
          </a:p>
          <a:p>
            <a:r>
              <a:rPr lang="ru-RU" sz="2000" dirty="0" smtClean="0">
                <a:solidFill>
                  <a:schemeClr val="tx1"/>
                </a:solidFill>
                <a:latin typeface="Fregat" pitchFamily="50" charset="0"/>
              </a:rPr>
              <a:t>наличию детей, доходу, вид туризма</a:t>
            </a:r>
            <a:endParaRPr lang="ru-RU" sz="20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742213" y="4811229"/>
            <a:ext cx="3688044" cy="1121933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  <a:latin typeface="Fregat" pitchFamily="50" charset="0"/>
              </a:rPr>
              <a:t>Оценка осведомленности потенциальной аудитории</a:t>
            </a:r>
          </a:p>
        </p:txBody>
      </p:sp>
      <p:pic>
        <p:nvPicPr>
          <p:cNvPr id="11270" name="Picture 6" descr="https://www.daviddenies.com/wp-content/uploads/2015/04/sign-computer-icon-symbol-signs-info-informatio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4482" y="4981948"/>
            <a:ext cx="780493" cy="780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CustomShape 1"/>
          <p:cNvSpPr/>
          <p:nvPr/>
        </p:nvSpPr>
        <p:spPr>
          <a:xfrm>
            <a:off x="1133408" y="5933162"/>
            <a:ext cx="11058592" cy="93533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  <a:spcBef>
                <a:spcPts val="1199"/>
              </a:spcBef>
            </a:pPr>
            <a:r>
              <a:rPr lang="ru-RU" sz="2300" b="0" i="1" strike="noStrike" spc="-1" dirty="0">
                <a:solidFill>
                  <a:srgbClr val="0070C0"/>
                </a:solidFill>
                <a:latin typeface="Times New Roman" panose="02020603050405020304" pitchFamily="18" charset="0"/>
                <a:ea typeface="Open Sans"/>
                <a:cs typeface="Times New Roman" panose="02020603050405020304" pitchFamily="18" charset="0"/>
              </a:rPr>
              <a:t>Построение эффективной маркетинговой и продуктовой стратегии привлечения туристов на курорты Южного Урала на основе анализа цифрового следа</a:t>
            </a:r>
            <a:endParaRPr lang="ru-RU" sz="2300" b="0" strike="noStrike" spc="-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269316" y="2339022"/>
            <a:ext cx="4559260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 smtClean="0">
                <a:latin typeface="Fregat" pitchFamily="50" charset="0"/>
              </a:rPr>
              <a:t>Низкий индекс цифрового присутствия </a:t>
            </a:r>
          </a:p>
          <a:p>
            <a:pPr algn="ctr"/>
            <a:r>
              <a:rPr lang="ru-RU" sz="2000" dirty="0" smtClean="0">
                <a:latin typeface="Fregat" pitchFamily="50" charset="0"/>
              </a:rPr>
              <a:t>туристических объектов </a:t>
            </a:r>
          </a:p>
          <a:p>
            <a:pPr algn="ctr"/>
            <a:r>
              <a:rPr lang="ru-RU" sz="2000" dirty="0" smtClean="0">
                <a:latin typeface="Fregat" pitchFamily="50" charset="0"/>
              </a:rPr>
              <a:t>Челябинской области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3154" y="1176973"/>
            <a:ext cx="1171575" cy="1162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49434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106656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316170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ВОЗМОЖНОСТИ </a:t>
            </a:r>
            <a:r>
              <a:rPr lang="ru-RU" sz="3200" b="1" dirty="0">
                <a:solidFill>
                  <a:schemeClr val="tx1"/>
                </a:solidFill>
                <a:latin typeface="Fregat" pitchFamily="50" charset="0"/>
              </a:rPr>
              <a:t>Ц</a:t>
            </a:r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ИФРОВОГО РЕШЕНИЯ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09861" y="1628352"/>
            <a:ext cx="5052316" cy="155154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Получать данные для работы инструмента из открытых источников</a:t>
            </a:r>
            <a:endParaRPr lang="ru-RU" sz="24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1520677" y="1412437"/>
            <a:ext cx="658330" cy="6892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290" name="Picture 2" descr="https://icon-library.net/images/database-icon-flat/database-icon-flat-15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9921" y="1367122"/>
            <a:ext cx="779843" cy="779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Скругленный прямоугольник 19"/>
          <p:cNvSpPr/>
          <p:nvPr/>
        </p:nvSpPr>
        <p:spPr>
          <a:xfrm>
            <a:off x="1809859" y="3623202"/>
            <a:ext cx="5052316" cy="160816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Фильтровать и просматривать целевые группы по региону, виду туризма, полу и возрасту</a:t>
            </a:r>
            <a:endParaRPr lang="ru-RU" sz="24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2292" name="Picture 4" descr="https://maxcdn.icons8.com/Share/icon/Dusk/Data/pie_chart160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081" y="3336594"/>
            <a:ext cx="886205" cy="88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Скругленный прямоугольник 25"/>
          <p:cNvSpPr/>
          <p:nvPr/>
        </p:nvSpPr>
        <p:spPr>
          <a:xfrm>
            <a:off x="7466467" y="1653657"/>
            <a:ext cx="4426395" cy="1610429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Визуализировать данные  </a:t>
            </a:r>
          </a:p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в виде карт и списков</a:t>
            </a:r>
            <a:endParaRPr lang="ru-RU" sz="24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488101" y="3700822"/>
            <a:ext cx="4426395" cy="1608160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Наблюдать за изменением уровня осведомленности об объектах рекламы жителями регионов России   </a:t>
            </a:r>
            <a:endParaRPr lang="ru-RU" sz="2400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809859" y="5734342"/>
            <a:ext cx="10104637" cy="953061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3050"/>
            <a:r>
              <a:rPr lang="ru-RU" sz="2400" dirty="0" smtClean="0">
                <a:solidFill>
                  <a:schemeClr val="tx1"/>
                </a:solidFill>
                <a:latin typeface="Fregat" pitchFamily="50" charset="0"/>
              </a:rPr>
              <a:t>Принимать решения о содержимом рекламного послания и регионе подачи исходя из свойств целевых групп и уровня их осведомленности  </a:t>
            </a:r>
            <a:endParaRPr lang="ru-RU" sz="2400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2294" name="Picture 6" descr="https://www.customerguru.in/wp-content/uploads/2015/01/analytics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0963" y="1367122"/>
            <a:ext cx="706676" cy="713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6" name="Picture 8" descr="https://icon-library.net/images/sync-icon-png/sync-icon-png-2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5808" y="3417659"/>
            <a:ext cx="796985" cy="796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s://www.geocentro.pt/wp-content/uploads/2015/08/icon_ideia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7078" y="5338560"/>
            <a:ext cx="745528" cy="746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429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229488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2254151" y="439002"/>
            <a:ext cx="9660345" cy="6005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 smtClean="0">
                <a:solidFill>
                  <a:schemeClr val="tx1"/>
                </a:solidFill>
                <a:latin typeface="Fregat" pitchFamily="50" charset="0"/>
              </a:rPr>
              <a:t>КЛЮЧЕВЫЕ УЧАСТНИКИ</a:t>
            </a:r>
            <a:endParaRPr lang="ru-RU" sz="3600" b="1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0242" name="Picture 2" descr="https://yt3.ggpht.com/a/AGF-l79gcYOFRtPCOyXVA-f9uGxfkB0t05EM22pAUQ=s900-c-k-c0xffffffff-no-rj-m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614" y="1517629"/>
            <a:ext cx="1100019" cy="1100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261817" y="1396418"/>
            <a:ext cx="2688609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  <a:latin typeface="Fregat" pitchFamily="50" charset="0"/>
              </a:rPr>
              <a:t>РАЗРАБОТЧИК</a:t>
            </a:r>
            <a:endParaRPr lang="ru-RU" sz="2800" b="1" dirty="0">
              <a:solidFill>
                <a:schemeClr val="tx1"/>
              </a:solidFill>
              <a:latin typeface="Fregat" pitchFamily="50" charset="0"/>
            </a:endParaRPr>
          </a:p>
        </p:txBody>
      </p:sp>
      <p:pic>
        <p:nvPicPr>
          <p:cNvPr id="10244" name="Picture 4" descr="https://imageog.flaticon.com/icons/png/512/206/206855.png?size=1200x630f&amp;pad=10,10,10,10&amp;ext=png&amp;bg=FFFFFFF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2935" y="3176115"/>
            <a:ext cx="2179375" cy="114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425590" y="1962704"/>
            <a:ext cx="398859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Iskra two</a:t>
            </a:r>
            <a:r>
              <a:rPr lang="ru-RU" sz="2800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 г. Екатеринбург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425590" y="2903161"/>
            <a:ext cx="2688609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chemeClr val="tx1"/>
                </a:solidFill>
                <a:latin typeface="Fregat" pitchFamily="50" charset="0"/>
              </a:rPr>
              <a:t>ПОЛЬЗОВАТЕЛИ</a:t>
            </a:r>
            <a:endParaRPr lang="ru-RU" sz="28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425590" y="3488462"/>
            <a:ext cx="84889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Центр развития туризма Челябинской област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Маркетологи туристических объектов</a:t>
            </a:r>
            <a:endParaRPr lang="ru-RU" sz="2800" dirty="0">
              <a:solidFill>
                <a:srgbClr val="0070C0"/>
              </a:solidFill>
              <a:latin typeface="Fregat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425589" y="4679641"/>
            <a:ext cx="5390865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chemeClr val="tx1"/>
                </a:solidFill>
                <a:latin typeface="Fregat" pitchFamily="50" charset="0"/>
              </a:rPr>
              <a:t>УТВЕРЖДАЮТ РЕШЕНИЕ</a:t>
            </a:r>
            <a:endParaRPr lang="ru-RU" sz="2800" b="1" dirty="0">
              <a:solidFill>
                <a:schemeClr val="tx1"/>
              </a:solidFill>
              <a:latin typeface="Fregat" pitchFamily="50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425590" y="5264942"/>
            <a:ext cx="73452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  <a:r>
              <a:rPr lang="ru-RU" sz="2800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Челябинской област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Минкультуры </a:t>
            </a:r>
            <a:r>
              <a:rPr lang="ru-RU" sz="2800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Челябинской области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Мининформ Челябинской </a:t>
            </a:r>
            <a:r>
              <a:rPr lang="ru-RU" sz="2800" dirty="0">
                <a:solidFill>
                  <a:srgbClr val="0070C0"/>
                </a:solidFill>
                <a:latin typeface="Fregat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области</a:t>
            </a:r>
          </a:p>
        </p:txBody>
      </p:sp>
      <p:pic>
        <p:nvPicPr>
          <p:cNvPr id="10246" name="Picture 6" descr="https://img2.freepng.ru/20180425/zwe/kisspng-computer-icons-download-clip-art-5ae0c65145fad6.0794931215246802732867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110" y="5060229"/>
            <a:ext cx="1240707" cy="1240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9234" y="4599509"/>
            <a:ext cx="830125" cy="921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015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5905" y="229488"/>
            <a:ext cx="1048247" cy="1019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254151" y="439002"/>
            <a:ext cx="5142935" cy="600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600" b="1" dirty="0" smtClean="0">
                <a:solidFill>
                  <a:prstClr val="black"/>
                </a:solidFill>
                <a:latin typeface="Fregat" pitchFamily="50" charset="0"/>
              </a:rPr>
              <a:t>Источники Данных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583140" y="1940240"/>
            <a:ext cx="2961564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отовые операторы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583141" y="2652888"/>
            <a:ext cx="2961564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Банки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583141" y="3365536"/>
            <a:ext cx="2961563" cy="77791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Коммерческие структуры сервисной экономики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583141" y="4335207"/>
            <a:ext cx="2961563" cy="90530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Ведомственные системы ОИВ, открытые источники данных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583139" y="5432263"/>
            <a:ext cx="2961565" cy="52200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Яндекс. Подбор слов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583138" y="6146019"/>
            <a:ext cx="2961565" cy="52089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Социальные сети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496606" y="1404897"/>
            <a:ext cx="321652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Fregat" pitchFamily="50" charset="0"/>
              </a:rPr>
              <a:t>КТО ПРЕДОСТАВЛЯЕТ?</a:t>
            </a:r>
            <a:endParaRPr lang="ru-RU" sz="2400" dirty="0">
              <a:solidFill>
                <a:srgbClr val="C00000"/>
              </a:solidFill>
            </a:endParaRPr>
          </a:p>
        </p:txBody>
      </p:sp>
      <p:cxnSp>
        <p:nvCxnSpPr>
          <p:cNvPr id="4" name="Прямая со стрелкой 3"/>
          <p:cNvCxnSpPr/>
          <p:nvPr/>
        </p:nvCxnSpPr>
        <p:spPr>
          <a:xfrm>
            <a:off x="6499770" y="4251524"/>
            <a:ext cx="2611088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9110858" y="3929321"/>
            <a:ext cx="2961563" cy="64440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Органы исполнительной власти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416638" y="3265417"/>
            <a:ext cx="23500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Fregat" pitchFamily="50" charset="0"/>
              </a:rPr>
              <a:t>КТО СОБИРАЕТ?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62906" y="2303461"/>
            <a:ext cx="22848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prstClr val="black"/>
                </a:solidFill>
                <a:latin typeface="Fregat" pitchFamily="50" charset="0"/>
              </a:rPr>
              <a:t>Сбор и хранение информации </a:t>
            </a:r>
            <a:endParaRPr lang="ru-RU" sz="2800" b="1" dirty="0">
              <a:solidFill>
                <a:prstClr val="black"/>
              </a:solidFill>
              <a:latin typeface="Fregat" pitchFamily="50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74277" y="1940240"/>
            <a:ext cx="1425494" cy="472667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black"/>
                </a:solidFill>
                <a:latin typeface="Fregat" pitchFamily="50" charset="0"/>
              </a:rPr>
              <a:t>Гармонизированная структура данных</a:t>
            </a:r>
            <a:endParaRPr lang="ru-RU" dirty="0">
              <a:solidFill>
                <a:prstClr val="black"/>
              </a:solidFill>
              <a:latin typeface="Fregat" pitchFamily="50" charset="0"/>
            </a:endParaRPr>
          </a:p>
        </p:txBody>
      </p:sp>
      <p:cxnSp>
        <p:nvCxnSpPr>
          <p:cNvPr id="22" name="Прямая со стрелкой 21"/>
          <p:cNvCxnSpPr/>
          <p:nvPr/>
        </p:nvCxnSpPr>
        <p:spPr>
          <a:xfrm>
            <a:off x="4544703" y="4251524"/>
            <a:ext cx="529573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326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61</TotalTime>
  <Words>736</Words>
  <Application>Microsoft Office PowerPoint</Application>
  <PresentationFormat>Произвольный</PresentationFormat>
  <Paragraphs>188</Paragraphs>
  <Slides>1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0" baseType="lpstr">
      <vt:lpstr>Arial</vt:lpstr>
      <vt:lpstr>Times New Roman</vt:lpstr>
      <vt:lpstr>Open Sans</vt:lpstr>
      <vt:lpstr>Calibri</vt:lpstr>
      <vt:lpstr>Fregat</vt:lpstr>
      <vt:lpstr>Calibri Light</vt:lpstr>
      <vt:lpstr>Wingdings</vt:lpstr>
      <vt:lpstr>Trebuchet MS</vt:lpstr>
      <vt:lpstr>DATAMASTERS</vt:lpstr>
      <vt:lpstr>1_DATAMASTERS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Петрова Юлия Викторовна</cp:lastModifiedBy>
  <cp:revision>225</cp:revision>
  <cp:lastPrinted>2019-11-29T11:28:12Z</cp:lastPrinted>
  <dcterms:created xsi:type="dcterms:W3CDTF">2019-05-13T16:08:50Z</dcterms:created>
  <dcterms:modified xsi:type="dcterms:W3CDTF">2019-12-23T13:31:59Z</dcterms:modified>
</cp:coreProperties>
</file>